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549" r:id="rId2"/>
    <p:sldId id="409" r:id="rId3"/>
    <p:sldId id="368" r:id="rId4"/>
    <p:sldId id="538" r:id="rId5"/>
    <p:sldId id="542" r:id="rId6"/>
    <p:sldId id="543" r:id="rId7"/>
    <p:sldId id="544" r:id="rId8"/>
    <p:sldId id="545" r:id="rId9"/>
    <p:sldId id="539" r:id="rId10"/>
    <p:sldId id="541" r:id="rId11"/>
    <p:sldId id="548" r:id="rId12"/>
    <p:sldId id="519" r:id="rId13"/>
    <p:sldId id="524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A2DC"/>
    <a:srgbClr val="023C87"/>
    <a:srgbClr val="CC0505"/>
    <a:srgbClr val="0000CC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10" autoAdjust="0"/>
    <p:restoredTop sz="94946" autoAdjust="0"/>
  </p:normalViewPr>
  <p:slideViewPr>
    <p:cSldViewPr snapToGrid="0">
      <p:cViewPr>
        <p:scale>
          <a:sx n="80" d="100"/>
          <a:sy n="80" d="100"/>
        </p:scale>
        <p:origin x="-1819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63928A-F34C-4A05-854D-6197D5D0C3A0}" type="datetimeFigureOut">
              <a:rPr lang="en-US" smtClean="0"/>
              <a:pPr/>
              <a:t>10/1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270A4E-3CB7-4F0C-B6EF-A3813F5FFD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0733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270A4E-3CB7-4F0C-B6EF-A3813F5FFD0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954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270A4E-3CB7-4F0C-B6EF-A3813F5FFD0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223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270A4E-3CB7-4F0C-B6EF-A3813F5FFD0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2233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270A4E-3CB7-4F0C-B6EF-A3813F5FFD0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28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965" y="-35043"/>
            <a:ext cx="8229600" cy="1143000"/>
          </a:xfrm>
        </p:spPr>
        <p:txBody>
          <a:bodyPr>
            <a:normAutofit/>
          </a:bodyPr>
          <a:lstStyle>
            <a:lvl1pPr algn="l">
              <a:defRPr lang="en-US" sz="2800" b="1" kern="1200" dirty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39725" indent="-339725" algn="l" defTabSz="914400" rtl="0" eaLnBrk="0" fontAlgn="base" latinLnBrk="0" hangingPunct="0">
              <a:lnSpc>
                <a:spcPts val="2500"/>
              </a:lnSpc>
              <a:spcBef>
                <a:spcPts val="10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 lang="en-US" sz="2400" kern="12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  <a:lvl2pPr marL="339725" indent="-339725" algn="l" defTabSz="914400" rtl="0" eaLnBrk="0" fontAlgn="base" latinLnBrk="0" hangingPunct="0">
              <a:lnSpc>
                <a:spcPts val="2500"/>
              </a:lnSpc>
              <a:spcBef>
                <a:spcPts val="10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 lang="en-US" sz="2400" kern="12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2pPr>
            <a:lvl3pPr marL="339725" indent="-339725" algn="l" defTabSz="914400" rtl="0" eaLnBrk="0" fontAlgn="base" latinLnBrk="0" hangingPunct="0">
              <a:lnSpc>
                <a:spcPts val="2500"/>
              </a:lnSpc>
              <a:spcBef>
                <a:spcPts val="10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 lang="en-US" sz="2400" kern="12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3pPr>
            <a:lvl4pPr marL="339725" indent="-339725" algn="l" defTabSz="914400" rtl="0" eaLnBrk="0" fontAlgn="base" latinLnBrk="0" hangingPunct="0">
              <a:lnSpc>
                <a:spcPts val="2500"/>
              </a:lnSpc>
              <a:spcBef>
                <a:spcPts val="10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 lang="en-US" sz="2400" kern="1200" dirty="0" smtClean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4pPr>
            <a:lvl5pPr marL="339725" indent="-339725" algn="l" defTabSz="914400" rtl="0" eaLnBrk="0" fontAlgn="base" latinLnBrk="0" hangingPunct="0">
              <a:lnSpc>
                <a:spcPts val="2500"/>
              </a:lnSpc>
              <a:spcBef>
                <a:spcPts val="10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 lang="en-US" sz="2400" kern="1200" dirty="0">
                <a:solidFill>
                  <a:prstClr val="black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8440992" y="6172200"/>
            <a:ext cx="685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9144" rIns="0" bIns="0" anchor="ctr">
            <a:prstTxWarp prst="textNoShape">
              <a:avLst/>
            </a:prstTxWarp>
          </a:bodyPr>
          <a:lstStyle/>
          <a:p>
            <a:pPr algn="ctr" eaLnBrk="0" hangingPunct="0"/>
            <a:fld id="{264F72E9-88E5-9B4E-9625-7127A540E99C}" type="slidenum">
              <a:rPr lang="en-US" sz="2000" b="1">
                <a:solidFill>
                  <a:srgbClr val="003399"/>
                </a:solidFill>
                <a:latin typeface="Times New Roman" pitchFamily="18" charset="0"/>
                <a:ea typeface="Verdana"/>
                <a:cs typeface="Times New Roman" pitchFamily="18" charset="0"/>
              </a:rPr>
              <a:pPr algn="ctr" eaLnBrk="0" hangingPunct="0"/>
              <a:t>‹#›</a:t>
            </a:fld>
            <a:endParaRPr lang="en-US" sz="2000" b="1" dirty="0">
              <a:solidFill>
                <a:srgbClr val="003399"/>
              </a:solidFill>
              <a:latin typeface="Times New Roman" pitchFamily="18" charset="0"/>
              <a:ea typeface="Verdan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393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7000" contrast="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3590"/>
          <a:stretch/>
        </p:blipFill>
        <p:spPr>
          <a:xfrm>
            <a:off x="3291349" y="762000"/>
            <a:ext cx="5840546" cy="6096002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07CD8A-0076-426D-ACE1-3C06893D6AB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152400"/>
            <a:ext cx="838200" cy="121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04800" y="6248400"/>
            <a:ext cx="43053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2392366" y="6429450"/>
            <a:ext cx="256833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1530"/>
              </a:spcBef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  <a:sym typeface="Capitals"/>
              </a:rPr>
              <a:t>Al Bawader Privileged &amp; Confidentia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100" y="6279453"/>
            <a:ext cx="1575060" cy="44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46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FC9924D1-3B51-491A-BCF7-DCD7ECE98210}" type="datetimeFigureOut">
              <a:rPr lang="en-US" smtClean="0"/>
              <a:t>10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C18FC-22CE-4978-B2C6-EDCBA3FDD6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634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00251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prstClr val="black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prstClr val="black"/>
                  </a:solidFill>
                  <a:latin typeface="Calibri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00" dirty="0">
                  <a:solidFill>
                    <a:prstClr val="black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00" dirty="0">
                  <a:solidFill>
                    <a:prstClr val="black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10985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07CD8A-0076-426D-ACE1-3C06893D6AB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074047" y="6429450"/>
            <a:ext cx="256833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spcBef>
                <a:spcPts val="1530"/>
              </a:spcBef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imes New Roman" pitchFamily="18" charset="0"/>
                <a:cs typeface="Times New Roman" pitchFamily="18" charset="0"/>
                <a:sym typeface="Capitals"/>
              </a:rPr>
              <a:t>Al Bawader Privileged &amp; Confidential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781" y="6279453"/>
            <a:ext cx="1575060" cy="441742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2460" y="196645"/>
            <a:ext cx="990600" cy="677476"/>
            <a:chOff x="228600" y="232648"/>
            <a:chExt cx="1143000" cy="930055"/>
          </a:xfrm>
        </p:grpSpPr>
        <p:sp>
          <p:nvSpPr>
            <p:cNvPr id="10" name="Rectangle 9"/>
            <p:cNvSpPr/>
            <p:nvPr/>
          </p:nvSpPr>
          <p:spPr>
            <a:xfrm>
              <a:off x="228600" y="381001"/>
              <a:ext cx="624841" cy="633351"/>
            </a:xfrm>
            <a:prstGeom prst="rect">
              <a:avLst/>
            </a:prstGeom>
            <a:solidFill>
              <a:srgbClr val="CC050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756320" y="232648"/>
              <a:ext cx="615280" cy="93005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4899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7" r:id="rId2"/>
    <p:sldLayoutId id="2147483667" r:id="rId3"/>
    <p:sldLayoutId id="2147483668" r:id="rId4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mp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jpeg"/><Relationship Id="rId3" Type="http://schemas.openxmlformats.org/officeDocument/2006/relationships/image" Target="../media/image14.jp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mp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mp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mp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7000" contrast="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3590"/>
          <a:stretch/>
        </p:blipFill>
        <p:spPr>
          <a:xfrm>
            <a:off x="3291348" y="762000"/>
            <a:ext cx="5840546" cy="6096002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3047876"/>
            <a:ext cx="931027" cy="761169"/>
          </a:xfrm>
          <a:prstGeom prst="rect">
            <a:avLst/>
          </a:prstGeom>
          <a:solidFill>
            <a:srgbClr val="CC05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64274" y="3049338"/>
            <a:ext cx="6567620" cy="75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/>
          <p:cNvSpPr/>
          <p:nvPr/>
        </p:nvSpPr>
        <p:spPr>
          <a:xfrm>
            <a:off x="825076" y="2899524"/>
            <a:ext cx="671215" cy="11177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2172270" y="2878695"/>
            <a:ext cx="671215" cy="11177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74363" y="3216166"/>
            <a:ext cx="616486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n-US" sz="2400" b="1" dirty="0" smtClean="0">
                <a:solidFill>
                  <a:prstClr val="white"/>
                </a:solidFill>
                <a:latin typeface="Times" pitchFamily="18" charset="0"/>
                <a:cs typeface="Arial" pitchFamily="34" charset="0"/>
              </a:rPr>
              <a:t>The Emerging Arab Israeli Hi Tech Economy</a:t>
            </a:r>
            <a:endParaRPr lang="en-US" sz="2400" b="1" dirty="0">
              <a:solidFill>
                <a:prstClr val="white"/>
              </a:solidFill>
              <a:latin typeface="Times" pitchFamily="18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077" y="3071271"/>
            <a:ext cx="2046984" cy="60056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67302" y="5010149"/>
            <a:ext cx="1762534" cy="803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lnSpc>
                <a:spcPts val="2900"/>
              </a:lnSpc>
              <a:spcAft>
                <a:spcPct val="0"/>
              </a:spcAft>
              <a:buClr>
                <a:srgbClr val="C00000"/>
              </a:buClr>
            </a:pPr>
            <a:r>
              <a:rPr lang="en-US" sz="2000" b="1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Jimmy Levy</a:t>
            </a:r>
          </a:p>
          <a:p>
            <a:pPr eaLnBrk="0" fontAlgn="base" hangingPunct="0">
              <a:lnSpc>
                <a:spcPts val="2900"/>
              </a:lnSpc>
              <a:spcAft>
                <a:spcPct val="0"/>
              </a:spcAft>
              <a:buClr>
                <a:srgbClr val="C00000"/>
              </a:buClr>
            </a:pPr>
            <a:r>
              <a:rPr lang="en-US" sz="2000" b="1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October, 2017 </a:t>
            </a:r>
            <a:endParaRPr lang="en-US" sz="2000" b="1" dirty="0">
              <a:solidFill>
                <a:srgbClr val="023C87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72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3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04825" y="112713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 err="1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Vidmatic</a:t>
            </a:r>
            <a:r>
              <a:rPr lang="en-US" sz="24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 - </a:t>
            </a:r>
            <a:r>
              <a:rPr lang="en-US" sz="24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Comprehensive video ad platform targeting publishers in emerging markets </a:t>
            </a:r>
            <a:endParaRPr lang="en-US" sz="2400" b="1" dirty="0">
              <a:solidFill>
                <a:srgbClr val="003399"/>
              </a:solidFill>
              <a:latin typeface="Times" pitchFamily="18" charset="0"/>
              <a:ea typeface="+mn-ea"/>
              <a:cs typeface="Arial" pitchFamily="34" charset="0"/>
            </a:endParaRPr>
          </a:p>
        </p:txBody>
      </p:sp>
      <p:pic>
        <p:nvPicPr>
          <p:cNvPr id="2" name="Picture 1" descr="VidMatic Deck.pdf - Adobe Acrobat Reader DC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6" t="16354" r="11771" b="1550"/>
          <a:stretch/>
        </p:blipFill>
        <p:spPr>
          <a:xfrm>
            <a:off x="657226" y="1286180"/>
            <a:ext cx="8001000" cy="4543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70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alil Software: Leading the QA Automation &amp; Development Augmentation. - Google Chrome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5" t="17700" r="2708" b="34812"/>
          <a:stretch/>
        </p:blipFill>
        <p:spPr>
          <a:xfrm>
            <a:off x="523874" y="1619250"/>
            <a:ext cx="8105775" cy="23526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52524" y="4457700"/>
            <a:ext cx="3018775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200 engine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Headquartered in Nazare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Government </a:t>
            </a:r>
            <a:r>
              <a:rPr lang="en-US" dirty="0" smtClean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progra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Profitable</a:t>
            </a:r>
            <a:endParaRPr lang="en-US" dirty="0">
              <a:solidFill>
                <a:srgbClr val="023C87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881561" y="4448175"/>
            <a:ext cx="35861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Expertise </a:t>
            </a:r>
            <a:r>
              <a:rPr lang="en-US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in high margin </a:t>
            </a:r>
            <a:r>
              <a:rPr lang="en-US" dirty="0" smtClean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markets </a:t>
            </a:r>
            <a:r>
              <a:rPr lang="en-US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dirty="0" smtClean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DevOps, Automated QA)</a:t>
            </a:r>
            <a:endParaRPr lang="en-US" dirty="0">
              <a:solidFill>
                <a:srgbClr val="023C87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rPr>
              <a:t>600+ former employees work in Israeli hi-tech</a:t>
            </a:r>
          </a:p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52450" y="4333875"/>
            <a:ext cx="8077199" cy="1495425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4966" y="122960"/>
            <a:ext cx="8416634" cy="1143000"/>
          </a:xfrm>
        </p:spPr>
        <p:txBody>
          <a:bodyPr>
            <a:normAutofit/>
          </a:bodyPr>
          <a:lstStyle/>
          <a:p>
            <a:pPr algn="l"/>
            <a:r>
              <a:rPr lang="en-US" sz="28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Galil Software - #1 Software Service Provider to Israeli High Tech</a:t>
            </a:r>
            <a:endParaRPr lang="en-US" sz="2800" b="1" dirty="0">
              <a:solidFill>
                <a:srgbClr val="003399"/>
              </a:solidFill>
              <a:latin typeface="Times" pitchFamily="18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969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964" y="-35043"/>
            <a:ext cx="8664285" cy="1143000"/>
          </a:xfrm>
        </p:spPr>
        <p:txBody>
          <a:bodyPr>
            <a:normAutofit/>
          </a:bodyPr>
          <a:lstStyle/>
          <a:p>
            <a:r>
              <a:rPr lang="en-US" sz="2700" dirty="0" smtClean="0"/>
              <a:t>Emerging Arab Israeli </a:t>
            </a:r>
            <a:r>
              <a:rPr lang="en-US" sz="2700" dirty="0" smtClean="0"/>
              <a:t>High </a:t>
            </a:r>
            <a:r>
              <a:rPr lang="en-US" sz="2700" dirty="0" smtClean="0"/>
              <a:t>Tech </a:t>
            </a:r>
            <a:r>
              <a:rPr lang="en-US" sz="2700" dirty="0" smtClean="0"/>
              <a:t>Economy 2010 </a:t>
            </a:r>
            <a:r>
              <a:rPr lang="en-US" sz="2700" dirty="0" smtClean="0"/>
              <a:t>vs </a:t>
            </a:r>
            <a:r>
              <a:rPr lang="en-US" sz="2700" dirty="0" smtClean="0">
                <a:solidFill>
                  <a:srgbClr val="FF0000"/>
                </a:solidFill>
              </a:rPr>
              <a:t>2016</a:t>
            </a:r>
            <a:endParaRPr lang="en-US" sz="2700" dirty="0">
              <a:solidFill>
                <a:srgbClr val="FF0000"/>
              </a:solidFill>
            </a:endParaRPr>
          </a:p>
        </p:txBody>
      </p:sp>
      <p:pic>
        <p:nvPicPr>
          <p:cNvPr id="57402" name="Picture 5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4" t="30836" r="7389" b="466"/>
          <a:stretch/>
        </p:blipFill>
        <p:spPr bwMode="auto">
          <a:xfrm>
            <a:off x="-1" y="1435395"/>
            <a:ext cx="6633063" cy="4736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" name="Rectangle 94"/>
          <p:cNvSpPr/>
          <p:nvPr/>
        </p:nvSpPr>
        <p:spPr>
          <a:xfrm rot="5400000">
            <a:off x="957537" y="262191"/>
            <a:ext cx="5376554" cy="6507857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5" name="Rectangle 234"/>
          <p:cNvSpPr/>
          <p:nvPr/>
        </p:nvSpPr>
        <p:spPr>
          <a:xfrm>
            <a:off x="1505647" y="5360676"/>
            <a:ext cx="21082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latin typeface="Times" pitchFamily="18" charset="0"/>
                <a:cs typeface="Arial" pitchFamily="34" charset="0"/>
              </a:rPr>
              <a:t>Professionals </a:t>
            </a:r>
          </a:p>
          <a:p>
            <a:r>
              <a:rPr lang="en-US" sz="1600" b="1" dirty="0">
                <a:latin typeface="Times" pitchFamily="18" charset="0"/>
                <a:cs typeface="Arial" pitchFamily="34" charset="0"/>
              </a:rPr>
              <a:t>employed in high tech</a:t>
            </a:r>
          </a:p>
        </p:txBody>
      </p:sp>
      <p:sp>
        <p:nvSpPr>
          <p:cNvPr id="240" name="Rectangle 239"/>
          <p:cNvSpPr/>
          <p:nvPr/>
        </p:nvSpPr>
        <p:spPr>
          <a:xfrm>
            <a:off x="3586757" y="5442373"/>
            <a:ext cx="14237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rgbClr val="023C87"/>
                </a:solidFill>
                <a:latin typeface="Times" pitchFamily="18" charset="0"/>
                <a:cs typeface="Arial" pitchFamily="34" charset="0"/>
              </a:rPr>
              <a:t>300 to </a:t>
            </a:r>
            <a:r>
              <a:rPr lang="en-US" sz="2000" b="1" dirty="0" smtClean="0">
                <a:solidFill>
                  <a:srgbClr val="CC0505"/>
                </a:solidFill>
                <a:latin typeface="Times" pitchFamily="18" charset="0"/>
                <a:cs typeface="Arial" pitchFamily="34" charset="0"/>
              </a:rPr>
              <a:t>2300</a:t>
            </a:r>
            <a:endParaRPr lang="en-US" sz="2000" dirty="0">
              <a:solidFill>
                <a:srgbClr val="CC0505"/>
              </a:solidFill>
            </a:endParaRPr>
          </a:p>
        </p:txBody>
      </p:sp>
      <p:grpSp>
        <p:nvGrpSpPr>
          <p:cNvPr id="103" name="Group 102"/>
          <p:cNvGrpSpPr/>
          <p:nvPr/>
        </p:nvGrpSpPr>
        <p:grpSpPr>
          <a:xfrm>
            <a:off x="2377577" y="4402419"/>
            <a:ext cx="6604000" cy="786977"/>
            <a:chOff x="2540000" y="4699624"/>
            <a:chExt cx="6604000" cy="786977"/>
          </a:xfrm>
        </p:grpSpPr>
        <p:grpSp>
          <p:nvGrpSpPr>
            <p:cNvPr id="233" name="Group 232"/>
            <p:cNvGrpSpPr/>
            <p:nvPr/>
          </p:nvGrpSpPr>
          <p:grpSpPr>
            <a:xfrm>
              <a:off x="2608789" y="4699624"/>
              <a:ext cx="5468172" cy="664906"/>
              <a:chOff x="2608789" y="4699624"/>
              <a:chExt cx="5468172" cy="664906"/>
            </a:xfrm>
          </p:grpSpPr>
          <p:sp>
            <p:nvSpPr>
              <p:cNvPr id="236" name="Rectangle 235"/>
              <p:cNvSpPr/>
              <p:nvPr/>
            </p:nvSpPr>
            <p:spPr>
              <a:xfrm>
                <a:off x="2608789" y="4779755"/>
                <a:ext cx="1452642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b="1" dirty="0">
                    <a:latin typeface="Times" pitchFamily="18" charset="0"/>
                    <a:cs typeface="Arial" pitchFamily="34" charset="0"/>
                  </a:rPr>
                  <a:t>High tech </a:t>
                </a:r>
                <a:r>
                  <a:rPr lang="en-US" sz="1600" b="1" dirty="0" smtClean="0">
                    <a:latin typeface="Times" pitchFamily="18" charset="0"/>
                    <a:cs typeface="Arial" pitchFamily="34" charset="0"/>
                  </a:rPr>
                  <a:t>jobs</a:t>
                </a:r>
                <a:br>
                  <a:rPr lang="en-US" sz="1600" b="1" dirty="0" smtClean="0">
                    <a:latin typeface="Times" pitchFamily="18" charset="0"/>
                    <a:cs typeface="Arial" pitchFamily="34" charset="0"/>
                  </a:rPr>
                </a:br>
                <a:r>
                  <a:rPr lang="en-US" sz="1600" b="1" dirty="0" smtClean="0">
                    <a:latin typeface="Times" pitchFamily="18" charset="0"/>
                    <a:cs typeface="Arial" pitchFamily="34" charset="0"/>
                  </a:rPr>
                  <a:t>in Nazareth</a:t>
                </a:r>
                <a:endParaRPr lang="en-US" sz="1600" b="1" dirty="0">
                  <a:latin typeface="Times" pitchFamily="18" charset="0"/>
                  <a:cs typeface="Arial" pitchFamily="34" charset="0"/>
                </a:endParaRPr>
              </a:p>
            </p:txBody>
          </p:sp>
          <p:sp>
            <p:nvSpPr>
              <p:cNvPr id="242" name="Rectangle 241"/>
              <p:cNvSpPr/>
              <p:nvPr/>
            </p:nvSpPr>
            <p:spPr>
              <a:xfrm>
                <a:off x="4210182" y="4863715"/>
                <a:ext cx="1167307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b="1" dirty="0" smtClean="0">
                    <a:solidFill>
                      <a:srgbClr val="003399"/>
                    </a:solidFill>
                    <a:latin typeface="Times" pitchFamily="18" charset="0"/>
                    <a:cs typeface="Arial" pitchFamily="34" charset="0"/>
                  </a:rPr>
                  <a:t>50 </a:t>
                </a:r>
                <a:r>
                  <a:rPr lang="en-US" sz="2000" b="1" dirty="0">
                    <a:solidFill>
                      <a:srgbClr val="023C87"/>
                    </a:solidFill>
                    <a:latin typeface="Times" pitchFamily="18" charset="0"/>
                    <a:cs typeface="Arial" pitchFamily="34" charset="0"/>
                  </a:rPr>
                  <a:t>to </a:t>
                </a:r>
                <a:r>
                  <a:rPr lang="en-US" sz="2000" b="1" dirty="0" smtClean="0">
                    <a:solidFill>
                      <a:srgbClr val="FF0000"/>
                    </a:solidFill>
                    <a:latin typeface="Times" pitchFamily="18" charset="0"/>
                    <a:cs typeface="Arial" pitchFamily="34" charset="0"/>
                  </a:rPr>
                  <a:t>600</a:t>
                </a:r>
                <a:endParaRPr lang="en-US" sz="2000" b="1" dirty="0">
                  <a:solidFill>
                    <a:srgbClr val="FF0000"/>
                  </a:solidFill>
                  <a:latin typeface="Times" pitchFamily="18" charset="0"/>
                  <a:cs typeface="Arial" pitchFamily="34" charset="0"/>
                </a:endParaRPr>
              </a:p>
            </p:txBody>
          </p:sp>
          <p:grpSp>
            <p:nvGrpSpPr>
              <p:cNvPr id="225" name="Group 224"/>
              <p:cNvGrpSpPr/>
              <p:nvPr/>
            </p:nvGrpSpPr>
            <p:grpSpPr>
              <a:xfrm>
                <a:off x="5530851" y="4699624"/>
                <a:ext cx="2546110" cy="604482"/>
                <a:chOff x="5526538" y="4621040"/>
                <a:chExt cx="3090949" cy="733826"/>
              </a:xfrm>
            </p:grpSpPr>
            <p:pic>
              <p:nvPicPr>
                <p:cNvPr id="246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7608" b="36686"/>
                <a:stretch/>
              </p:blipFill>
              <p:spPr bwMode="auto">
                <a:xfrm>
                  <a:off x="5526538" y="4994455"/>
                  <a:ext cx="1402033" cy="3604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47" name="Picture 2"/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617048" y="4621040"/>
                  <a:ext cx="1092153" cy="3040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48" name="Picture 4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26332" y="5058253"/>
                  <a:ext cx="1191155" cy="25436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cxnSp>
          <p:nvCxnSpPr>
            <p:cNvPr id="101" name="Straight Connector 100"/>
            <p:cNvCxnSpPr/>
            <p:nvPr/>
          </p:nvCxnSpPr>
          <p:spPr>
            <a:xfrm>
              <a:off x="2540000" y="5486601"/>
              <a:ext cx="6604000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4" name="Group 233"/>
          <p:cNvGrpSpPr/>
          <p:nvPr/>
        </p:nvGrpSpPr>
        <p:grpSpPr>
          <a:xfrm>
            <a:off x="3365890" y="3516120"/>
            <a:ext cx="5461904" cy="584775"/>
            <a:chOff x="3364913" y="4047628"/>
            <a:chExt cx="5461904" cy="584775"/>
          </a:xfrm>
        </p:grpSpPr>
        <p:sp>
          <p:nvSpPr>
            <p:cNvPr id="237" name="Rectangle 236"/>
            <p:cNvSpPr/>
            <p:nvPr/>
          </p:nvSpPr>
          <p:spPr>
            <a:xfrm>
              <a:off x="3364913" y="4047628"/>
              <a:ext cx="113313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b="1" dirty="0">
                  <a:latin typeface="Times" pitchFamily="18" charset="0"/>
                  <a:cs typeface="Arial" pitchFamily="34" charset="0"/>
                </a:rPr>
                <a:t>Number of</a:t>
              </a:r>
            </a:p>
            <a:p>
              <a:r>
                <a:rPr lang="en-US" sz="1600" b="1" dirty="0">
                  <a:latin typeface="Times" pitchFamily="18" charset="0"/>
                  <a:cs typeface="Arial" pitchFamily="34" charset="0"/>
                </a:rPr>
                <a:t>start ups</a:t>
              </a:r>
            </a:p>
          </p:txBody>
        </p:sp>
        <p:sp>
          <p:nvSpPr>
            <p:cNvPr id="243" name="Rectangle 242"/>
            <p:cNvSpPr/>
            <p:nvPr/>
          </p:nvSpPr>
          <p:spPr>
            <a:xfrm>
              <a:off x="4511292" y="4165636"/>
              <a:ext cx="116730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solidFill>
                    <a:srgbClr val="003399"/>
                  </a:solidFill>
                  <a:latin typeface="Times" pitchFamily="18" charset="0"/>
                  <a:cs typeface="Arial" pitchFamily="34" charset="0"/>
                </a:rPr>
                <a:t>25 to </a:t>
              </a:r>
              <a:r>
                <a:rPr lang="en-US" sz="2000" b="1" dirty="0">
                  <a:solidFill>
                    <a:srgbClr val="CC0505"/>
                  </a:solidFill>
                  <a:latin typeface="Times" pitchFamily="18" charset="0"/>
                  <a:cs typeface="Arial" pitchFamily="34" charset="0"/>
                </a:rPr>
                <a:t>100</a:t>
              </a:r>
            </a:p>
          </p:txBody>
        </p:sp>
        <p:grpSp>
          <p:nvGrpSpPr>
            <p:cNvPr id="226" name="Group 225"/>
            <p:cNvGrpSpPr/>
            <p:nvPr/>
          </p:nvGrpSpPr>
          <p:grpSpPr>
            <a:xfrm>
              <a:off x="6003693" y="4121426"/>
              <a:ext cx="2823124" cy="364655"/>
              <a:chOff x="5822516" y="4017528"/>
              <a:chExt cx="3499460" cy="452016"/>
            </a:xfrm>
          </p:grpSpPr>
          <p:pic>
            <p:nvPicPr>
              <p:cNvPr id="249" name="Picture 5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211699" y="4095740"/>
                <a:ext cx="1001792" cy="373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0" name="Picture 6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8345629" y="4108126"/>
                <a:ext cx="976347" cy="3096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1" name="Picture 3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5822516" y="4017528"/>
                <a:ext cx="1150218" cy="400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cxnSp>
        <p:nvCxnSpPr>
          <p:cNvPr id="272" name="Straight Connector 271"/>
          <p:cNvCxnSpPr/>
          <p:nvPr/>
        </p:nvCxnSpPr>
        <p:spPr>
          <a:xfrm>
            <a:off x="3316531" y="4288948"/>
            <a:ext cx="6341533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ctangle 237"/>
          <p:cNvSpPr/>
          <p:nvPr/>
        </p:nvSpPr>
        <p:spPr>
          <a:xfrm>
            <a:off x="4260420" y="2484305"/>
            <a:ext cx="18149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latin typeface="Times" pitchFamily="18" charset="0"/>
                <a:cs typeface="Arial" pitchFamily="34" charset="0"/>
              </a:rPr>
              <a:t>Startups</a:t>
            </a:r>
          </a:p>
          <a:p>
            <a:r>
              <a:rPr lang="en-US" sz="1600" b="1" dirty="0">
                <a:latin typeface="Times" pitchFamily="18" charset="0"/>
                <a:cs typeface="Arial" pitchFamily="34" charset="0"/>
              </a:rPr>
              <a:t>supported by CSO</a:t>
            </a:r>
          </a:p>
        </p:txBody>
      </p:sp>
      <p:sp>
        <p:nvSpPr>
          <p:cNvPr id="244" name="Rectangle 243"/>
          <p:cNvSpPr/>
          <p:nvPr/>
        </p:nvSpPr>
        <p:spPr>
          <a:xfrm>
            <a:off x="6129175" y="2598403"/>
            <a:ext cx="9108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rgbClr val="003399"/>
                </a:solidFill>
                <a:latin typeface="Times" pitchFamily="18" charset="0"/>
                <a:cs typeface="Arial" pitchFamily="34" charset="0"/>
              </a:rPr>
              <a:t>2 to </a:t>
            </a:r>
            <a:r>
              <a:rPr lang="en-US" sz="2000" b="1" dirty="0" smtClean="0">
                <a:solidFill>
                  <a:srgbClr val="CC0505"/>
                </a:solidFill>
                <a:latin typeface="Times" pitchFamily="18" charset="0"/>
                <a:cs typeface="Arial" pitchFamily="34" charset="0"/>
              </a:rPr>
              <a:t>25</a:t>
            </a:r>
            <a:endParaRPr lang="en-US" sz="2000" b="1" dirty="0">
              <a:solidFill>
                <a:srgbClr val="CC0505"/>
              </a:solidFill>
              <a:latin typeface="Times" pitchFamily="18" charset="0"/>
              <a:cs typeface="Arial" pitchFamily="34" charset="0"/>
            </a:endParaRPr>
          </a:p>
        </p:txBody>
      </p:sp>
      <p:grpSp>
        <p:nvGrpSpPr>
          <p:cNvPr id="227" name="Group 226"/>
          <p:cNvGrpSpPr/>
          <p:nvPr/>
        </p:nvGrpSpPr>
        <p:grpSpPr>
          <a:xfrm>
            <a:off x="7053966" y="2468041"/>
            <a:ext cx="1922718" cy="667898"/>
            <a:chOff x="6809212" y="3157852"/>
            <a:chExt cx="2441140" cy="847981"/>
          </a:xfrm>
        </p:grpSpPr>
        <p:pic>
          <p:nvPicPr>
            <p:cNvPr id="252" name="Picture 4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809212" y="3157852"/>
              <a:ext cx="962184" cy="359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3" name="Picture 252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1030" y="3678257"/>
              <a:ext cx="939770" cy="327576"/>
            </a:xfrm>
            <a:prstGeom prst="rect">
              <a:avLst/>
            </a:prstGeom>
          </p:spPr>
        </p:pic>
        <p:pic>
          <p:nvPicPr>
            <p:cNvPr id="254" name="Picture 25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1633" y="3386989"/>
              <a:ext cx="1188719" cy="302076"/>
            </a:xfrm>
            <a:prstGeom prst="rect">
              <a:avLst/>
            </a:prstGeom>
          </p:spPr>
        </p:pic>
      </p:grpSp>
      <p:cxnSp>
        <p:nvCxnSpPr>
          <p:cNvPr id="274" name="Straight Connector 273"/>
          <p:cNvCxnSpPr/>
          <p:nvPr/>
        </p:nvCxnSpPr>
        <p:spPr>
          <a:xfrm>
            <a:off x="4210183" y="3290246"/>
            <a:ext cx="6341533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oup 105"/>
          <p:cNvGrpSpPr/>
          <p:nvPr/>
        </p:nvGrpSpPr>
        <p:grpSpPr>
          <a:xfrm>
            <a:off x="5158744" y="1553689"/>
            <a:ext cx="6341533" cy="776341"/>
            <a:chOff x="5248977" y="2488668"/>
            <a:chExt cx="6341533" cy="776341"/>
          </a:xfrm>
        </p:grpSpPr>
        <p:grpSp>
          <p:nvGrpSpPr>
            <p:cNvPr id="96" name="Group 95"/>
            <p:cNvGrpSpPr/>
            <p:nvPr/>
          </p:nvGrpSpPr>
          <p:grpSpPr>
            <a:xfrm>
              <a:off x="5270243" y="2488668"/>
              <a:ext cx="3837968" cy="717691"/>
              <a:chOff x="5270243" y="2488668"/>
              <a:chExt cx="3837968" cy="717691"/>
            </a:xfrm>
          </p:grpSpPr>
          <p:sp>
            <p:nvSpPr>
              <p:cNvPr id="239" name="Rectangle 238"/>
              <p:cNvSpPr/>
              <p:nvPr/>
            </p:nvSpPr>
            <p:spPr>
              <a:xfrm>
                <a:off x="5270243" y="2555357"/>
                <a:ext cx="1617238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b="1" dirty="0">
                    <a:latin typeface="Times" pitchFamily="18" charset="0"/>
                    <a:cs typeface="Arial" pitchFamily="34" charset="0"/>
                  </a:rPr>
                  <a:t>Accelerators,</a:t>
                </a:r>
              </a:p>
              <a:p>
                <a:r>
                  <a:rPr lang="en-US" sz="1600" b="1" dirty="0">
                    <a:latin typeface="Times" pitchFamily="18" charset="0"/>
                    <a:cs typeface="Arial" pitchFamily="34" charset="0"/>
                  </a:rPr>
                  <a:t>Incubators, VCs</a:t>
                </a:r>
              </a:p>
            </p:txBody>
          </p:sp>
          <p:sp>
            <p:nvSpPr>
              <p:cNvPr id="241" name="Rectangle 240"/>
              <p:cNvSpPr/>
              <p:nvPr/>
            </p:nvSpPr>
            <p:spPr>
              <a:xfrm>
                <a:off x="6833665" y="2680729"/>
                <a:ext cx="736099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dirty="0" smtClean="0">
                    <a:solidFill>
                      <a:srgbClr val="003399"/>
                    </a:solidFill>
                    <a:latin typeface="Times" pitchFamily="18" charset="0"/>
                    <a:cs typeface="Arial" pitchFamily="34" charset="0"/>
                  </a:rPr>
                  <a:t>1 to </a:t>
                </a:r>
                <a:r>
                  <a:rPr lang="en-US" sz="2000" b="1" dirty="0">
                    <a:solidFill>
                      <a:srgbClr val="CC0505"/>
                    </a:solidFill>
                    <a:latin typeface="Times" pitchFamily="18" charset="0"/>
                    <a:cs typeface="Arial" pitchFamily="34" charset="0"/>
                  </a:rPr>
                  <a:t>5</a:t>
                </a:r>
              </a:p>
            </p:txBody>
          </p:sp>
          <p:grpSp>
            <p:nvGrpSpPr>
              <p:cNvPr id="231" name="Group 230"/>
              <p:cNvGrpSpPr/>
              <p:nvPr/>
            </p:nvGrpSpPr>
            <p:grpSpPr>
              <a:xfrm>
                <a:off x="7599015" y="2488668"/>
                <a:ext cx="1509196" cy="717691"/>
                <a:chOff x="7544307" y="2356044"/>
                <a:chExt cx="1914396" cy="910378"/>
              </a:xfrm>
            </p:grpSpPr>
            <p:pic>
              <p:nvPicPr>
                <p:cNvPr id="256" name="Picture 255"/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44307" y="2821472"/>
                  <a:ext cx="838385" cy="444950"/>
                </a:xfrm>
                <a:prstGeom prst="rect">
                  <a:avLst/>
                </a:prstGeom>
              </p:spPr>
            </p:pic>
            <p:pic>
              <p:nvPicPr>
                <p:cNvPr id="257" name="Picture 256"/>
                <p:cNvPicPr>
                  <a:picLocks noChangeAspect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72879" y="2782716"/>
                  <a:ext cx="885824" cy="442913"/>
                </a:xfrm>
                <a:prstGeom prst="rect">
                  <a:avLst/>
                </a:prstGeom>
              </p:spPr>
            </p:pic>
            <p:pic>
              <p:nvPicPr>
                <p:cNvPr id="255" name="Picture 7"/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30709" y="2356044"/>
                  <a:ext cx="1327277" cy="36643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cxnSp>
          <p:nvCxnSpPr>
            <p:cNvPr id="275" name="Straight Connector 274"/>
            <p:cNvCxnSpPr/>
            <p:nvPr/>
          </p:nvCxnSpPr>
          <p:spPr>
            <a:xfrm>
              <a:off x="5248977" y="3265009"/>
              <a:ext cx="6341533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Picture 3" descr="Galil Software: Extending your R&amp;D and Dev teams in Israel - Google Chrome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40" t="8050" r="43583" b="83900"/>
          <a:stretch/>
        </p:blipFill>
        <p:spPr>
          <a:xfrm>
            <a:off x="7582220" y="4350548"/>
            <a:ext cx="954933" cy="302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57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3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3678"/>
            <a:ext cx="8229600" cy="1143000"/>
          </a:xfrm>
        </p:spPr>
        <p:txBody>
          <a:bodyPr>
            <a:normAutofit/>
          </a:bodyPr>
          <a:lstStyle/>
          <a:p>
            <a:pPr>
              <a:lnSpc>
                <a:spcPts val="3000"/>
              </a:lnSpc>
            </a:pPr>
            <a:r>
              <a:rPr lang="en-US" sz="5700" b="1" dirty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Thank You!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121920"/>
            <a:ext cx="78232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049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8440992" y="6172200"/>
            <a:ext cx="685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9144" rIns="0" bIns="0" anchor="ctr">
            <a:prstTxWarp prst="textNoShape">
              <a:avLst/>
            </a:prstTxWarp>
          </a:bodyPr>
          <a:lstStyle/>
          <a:p>
            <a:pPr algn="ctr" eaLnBrk="0" hangingPunct="0"/>
            <a:fld id="{264F72E9-88E5-9B4E-9625-7127A540E99C}" type="slidenum">
              <a:rPr lang="en-US" sz="2000" b="1">
                <a:solidFill>
                  <a:srgbClr val="003399"/>
                </a:solidFill>
                <a:latin typeface="Times New Roman" pitchFamily="18" charset="0"/>
                <a:ea typeface="Verdana"/>
                <a:cs typeface="Times New Roman" pitchFamily="18" charset="0"/>
              </a:rPr>
              <a:pPr algn="ctr" eaLnBrk="0" hangingPunct="0"/>
              <a:t>2</a:t>
            </a:fld>
            <a:endParaRPr lang="en-US" sz="2000" b="1" dirty="0">
              <a:solidFill>
                <a:srgbClr val="003399"/>
              </a:solidFill>
              <a:latin typeface="Times New Roman" pitchFamily="18" charset="0"/>
              <a:ea typeface="Verdana"/>
              <a:cs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966" y="-48490"/>
            <a:ext cx="9331035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Arab Israeli Society - Economic </a:t>
            </a:r>
            <a:r>
              <a:rPr lang="en-US" dirty="0"/>
              <a:t>and Social Gaps</a:t>
            </a:r>
            <a:endParaRPr lang="en-US" sz="2800" dirty="0"/>
          </a:p>
        </p:txBody>
      </p:sp>
      <p:sp>
        <p:nvSpPr>
          <p:cNvPr id="5" name="Isosceles Triangle 4"/>
          <p:cNvSpPr/>
          <p:nvPr/>
        </p:nvSpPr>
        <p:spPr bwMode="auto">
          <a:xfrm rot="16200000" flipV="1">
            <a:off x="1706061" y="4656961"/>
            <a:ext cx="570584" cy="315358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e-IL">
              <a:solidFill>
                <a:schemeClr val="lt1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4755548" y="1422011"/>
            <a:ext cx="1027113" cy="558800"/>
          </a:xfrm>
          <a:prstGeom prst="rect">
            <a:avLst/>
          </a:prstGeom>
          <a:ln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anchor="ctr" anchorCtr="1"/>
          <a:lstStyle/>
          <a:p>
            <a:pPr algn="ctr" eaLnBrk="0" hangingPunct="0"/>
            <a: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Employment in </a:t>
            </a:r>
            <a:r>
              <a:rPr lang="en-US" sz="1100" b="1" dirty="0" smtClean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Hi-Tech</a:t>
            </a:r>
            <a:endParaRPr lang="he-IL" sz="1100" b="1" dirty="0">
              <a:solidFill>
                <a:srgbClr val="CC05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3449425" y="1422011"/>
            <a:ext cx="1025525" cy="558800"/>
          </a:xfrm>
          <a:prstGeom prst="rect">
            <a:avLst/>
          </a:prstGeom>
          <a:ln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anchor="ctr" anchorCtr="1"/>
          <a:lstStyle/>
          <a:p>
            <a:pPr algn="ctr" eaLnBrk="0" hangingPunct="0"/>
            <a: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Contribution to GDP</a:t>
            </a:r>
            <a:endParaRPr lang="he-IL" sz="1100" b="1" dirty="0">
              <a:solidFill>
                <a:srgbClr val="CC05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/>
        </p:nvSpPr>
        <p:spPr bwMode="auto">
          <a:xfrm>
            <a:off x="7369383" y="1422011"/>
            <a:ext cx="1025525" cy="558800"/>
          </a:xfrm>
          <a:prstGeom prst="rect">
            <a:avLst/>
          </a:prstGeom>
          <a:ln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anchor="ctr" anchorCtr="1"/>
          <a:lstStyle/>
          <a:p>
            <a:pPr algn="ctr" eaLnBrk="0" hangingPunct="0"/>
            <a: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Poor</a:t>
            </a:r>
            <a:b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Population</a:t>
            </a:r>
            <a:endParaRPr lang="he-IL" sz="1100" b="1" dirty="0">
              <a:solidFill>
                <a:srgbClr val="CC05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18"/>
          <p:cNvSpPr>
            <a:spLocks noChangeArrowheads="1"/>
          </p:cNvSpPr>
          <p:nvPr/>
        </p:nvSpPr>
        <p:spPr bwMode="auto">
          <a:xfrm>
            <a:off x="6063259" y="1422011"/>
            <a:ext cx="1025525" cy="558800"/>
          </a:xfrm>
          <a:prstGeom prst="rect">
            <a:avLst/>
          </a:prstGeom>
          <a:ln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anchor="ctr" anchorCtr="1"/>
          <a:lstStyle/>
          <a:p>
            <a:pPr algn="ctr" eaLnBrk="0" hangingPunct="0"/>
            <a: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Unemployed </a:t>
            </a:r>
            <a:endParaRPr lang="he-IL" sz="1100" b="1" dirty="0">
              <a:solidFill>
                <a:srgbClr val="CC05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Rectangle 19"/>
          <p:cNvSpPr>
            <a:spLocks noChangeArrowheads="1"/>
          </p:cNvSpPr>
          <p:nvPr/>
        </p:nvSpPr>
        <p:spPr bwMode="auto">
          <a:xfrm>
            <a:off x="2143302" y="1422011"/>
            <a:ext cx="1025525" cy="558800"/>
          </a:xfrm>
          <a:prstGeom prst="rect">
            <a:avLst/>
          </a:prstGeom>
          <a:ln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anchor="ctr" anchorCtr="1"/>
          <a:lstStyle/>
          <a:p>
            <a:pPr algn="ctr" eaLnBrk="0" hangingPunct="0"/>
            <a: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Participation in Workforce</a:t>
            </a:r>
            <a:endParaRPr lang="he-IL" sz="1100" b="1" dirty="0">
              <a:solidFill>
                <a:srgbClr val="CC05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Rectangle 32"/>
          <p:cNvSpPr>
            <a:spLocks noChangeArrowheads="1"/>
          </p:cNvSpPr>
          <p:nvPr/>
        </p:nvSpPr>
        <p:spPr bwMode="auto">
          <a:xfrm>
            <a:off x="627175" y="1422011"/>
            <a:ext cx="1206500" cy="558800"/>
          </a:xfrm>
          <a:prstGeom prst="rect">
            <a:avLst/>
          </a:prstGeom>
          <a:ln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36000" tIns="36000" rIns="36000" bIns="36000" anchor="ctr" anchorCtr="1"/>
          <a:lstStyle/>
          <a:p>
            <a:pPr algn="ctr" eaLnBrk="0" hangingPunct="0"/>
            <a:r>
              <a:rPr lang="en-US" sz="1100" b="1" dirty="0" smtClean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Population </a:t>
            </a:r>
            <a:r>
              <a:rPr lang="en-US" sz="11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rPr>
              <a:t>of Israel</a:t>
            </a:r>
            <a:endParaRPr lang="he-IL" sz="1100" b="1" dirty="0">
              <a:solidFill>
                <a:srgbClr val="CC050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38831" y="3570288"/>
            <a:ext cx="1323872" cy="2063996"/>
            <a:chOff x="8570843" y="2613621"/>
            <a:chExt cx="1323872" cy="2063996"/>
          </a:xfrm>
        </p:grpSpPr>
        <p:grpSp>
          <p:nvGrpSpPr>
            <p:cNvPr id="15" name="Group 14"/>
            <p:cNvGrpSpPr/>
            <p:nvPr/>
          </p:nvGrpSpPr>
          <p:grpSpPr>
            <a:xfrm>
              <a:off x="8570843" y="2966547"/>
              <a:ext cx="1323872" cy="1711070"/>
              <a:chOff x="8570843" y="2966547"/>
              <a:chExt cx="1323872" cy="1711070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8570843" y="4262119"/>
                <a:ext cx="132387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Percentage of Arabs </a:t>
                </a:r>
                <a:b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</a:br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in the Population</a:t>
                </a:r>
                <a:endParaRPr lang="en-US" sz="105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18" name="Group 17"/>
              <p:cNvGrpSpPr/>
              <p:nvPr/>
            </p:nvGrpSpPr>
            <p:grpSpPr>
              <a:xfrm>
                <a:off x="8691364" y="2966547"/>
                <a:ext cx="1082831" cy="1296614"/>
                <a:chOff x="8691364" y="2966547"/>
                <a:chExt cx="1082831" cy="1296614"/>
              </a:xfrm>
            </p:grpSpPr>
            <p:sp>
              <p:nvSpPr>
                <p:cNvPr id="19" name="Rectangle 18"/>
                <p:cNvSpPr/>
                <p:nvPr/>
              </p:nvSpPr>
              <p:spPr>
                <a:xfrm>
                  <a:off x="8980495" y="2966547"/>
                  <a:ext cx="504568" cy="1296614"/>
                </a:xfrm>
                <a:prstGeom prst="rect">
                  <a:avLst/>
                </a:prstGeom>
                <a:solidFill>
                  <a:srgbClr val="023C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20" name="Straight Connector 19"/>
                <p:cNvCxnSpPr/>
                <p:nvPr/>
              </p:nvCxnSpPr>
              <p:spPr>
                <a:xfrm>
                  <a:off x="8691364" y="4263161"/>
                  <a:ext cx="1082831" cy="0"/>
                </a:xfrm>
                <a:prstGeom prst="line">
                  <a:avLst/>
                </a:prstGeom>
                <a:ln>
                  <a:solidFill>
                    <a:srgbClr val="023C87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" name="TextBox 15"/>
            <p:cNvSpPr txBox="1"/>
            <p:nvPr/>
          </p:nvSpPr>
          <p:spPr>
            <a:xfrm>
              <a:off x="8941269" y="2613621"/>
              <a:ext cx="6781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023C87"/>
                  </a:solidFill>
                  <a:latin typeface="Times New Roman" pitchFamily="18" charset="0"/>
                  <a:cs typeface="Times New Roman" pitchFamily="18" charset="0"/>
                </a:rPr>
                <a:t>20%</a:t>
              </a:r>
              <a:endParaRPr lang="en-US" b="1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978993" y="4106491"/>
            <a:ext cx="1323872" cy="1534381"/>
            <a:chOff x="8570843" y="3143236"/>
            <a:chExt cx="1323872" cy="1534381"/>
          </a:xfrm>
        </p:grpSpPr>
        <p:grpSp>
          <p:nvGrpSpPr>
            <p:cNvPr id="22" name="Group 21"/>
            <p:cNvGrpSpPr/>
            <p:nvPr/>
          </p:nvGrpSpPr>
          <p:grpSpPr>
            <a:xfrm>
              <a:off x="8570843" y="3477227"/>
              <a:ext cx="1323872" cy="1200390"/>
              <a:chOff x="8570843" y="3477227"/>
              <a:chExt cx="1323872" cy="1200390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8570843" y="4262119"/>
                <a:ext cx="132387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Percentage of Arabs </a:t>
                </a:r>
                <a:b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</a:br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in the Work Force</a:t>
                </a:r>
                <a:endParaRPr lang="en-US" sz="105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8691364" y="3477227"/>
                <a:ext cx="1082831" cy="785934"/>
                <a:chOff x="8691364" y="3477227"/>
                <a:chExt cx="1082831" cy="785934"/>
              </a:xfrm>
            </p:grpSpPr>
            <p:sp>
              <p:nvSpPr>
                <p:cNvPr id="26" name="Rectangle 25"/>
                <p:cNvSpPr/>
                <p:nvPr/>
              </p:nvSpPr>
              <p:spPr>
                <a:xfrm>
                  <a:off x="8980495" y="3477227"/>
                  <a:ext cx="504568" cy="785934"/>
                </a:xfrm>
                <a:prstGeom prst="rect">
                  <a:avLst/>
                </a:prstGeom>
                <a:solidFill>
                  <a:srgbClr val="023C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27" name="Straight Connector 26"/>
                <p:cNvCxnSpPr/>
                <p:nvPr/>
              </p:nvCxnSpPr>
              <p:spPr>
                <a:xfrm>
                  <a:off x="8691364" y="4263161"/>
                  <a:ext cx="1082831" cy="0"/>
                </a:xfrm>
                <a:prstGeom prst="line">
                  <a:avLst/>
                </a:prstGeom>
                <a:ln>
                  <a:solidFill>
                    <a:srgbClr val="023C87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3" name="TextBox 22"/>
            <p:cNvSpPr txBox="1"/>
            <p:nvPr/>
          </p:nvSpPr>
          <p:spPr>
            <a:xfrm>
              <a:off x="8943427" y="3143236"/>
              <a:ext cx="6781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rgbClr val="023C87"/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r>
                <a:rPr lang="en-US" dirty="0"/>
                <a:t>13%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295315" y="4446601"/>
            <a:ext cx="1323872" cy="1351038"/>
            <a:chOff x="8570843" y="3488162"/>
            <a:chExt cx="1323872" cy="1351038"/>
          </a:xfrm>
        </p:grpSpPr>
        <p:grpSp>
          <p:nvGrpSpPr>
            <p:cNvPr id="29" name="Group 28"/>
            <p:cNvGrpSpPr/>
            <p:nvPr/>
          </p:nvGrpSpPr>
          <p:grpSpPr>
            <a:xfrm>
              <a:off x="8570843" y="3811294"/>
              <a:ext cx="1323872" cy="1027906"/>
              <a:chOff x="8570843" y="3811294"/>
              <a:chExt cx="1323872" cy="1027906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8570843" y="4262119"/>
                <a:ext cx="1323872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Percentage of Arab contribution</a:t>
                </a:r>
              </a:p>
              <a:p>
                <a:pPr algn="ctr"/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to GDP</a:t>
                </a:r>
                <a:endParaRPr lang="en-US" sz="105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32" name="Group 31"/>
              <p:cNvGrpSpPr/>
              <p:nvPr/>
            </p:nvGrpSpPr>
            <p:grpSpPr>
              <a:xfrm>
                <a:off x="8691364" y="3811294"/>
                <a:ext cx="1082831" cy="457200"/>
                <a:chOff x="8691364" y="3811294"/>
                <a:chExt cx="1082831" cy="457200"/>
              </a:xfrm>
            </p:grpSpPr>
            <p:sp>
              <p:nvSpPr>
                <p:cNvPr id="33" name="Rectangle 32"/>
                <p:cNvSpPr/>
                <p:nvPr/>
              </p:nvSpPr>
              <p:spPr>
                <a:xfrm>
                  <a:off x="8980495" y="3811294"/>
                  <a:ext cx="504568" cy="457200"/>
                </a:xfrm>
                <a:prstGeom prst="rect">
                  <a:avLst/>
                </a:prstGeom>
                <a:solidFill>
                  <a:srgbClr val="023C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34" name="Straight Connector 33"/>
                <p:cNvCxnSpPr/>
                <p:nvPr/>
              </p:nvCxnSpPr>
              <p:spPr>
                <a:xfrm>
                  <a:off x="8691364" y="4263161"/>
                  <a:ext cx="1082831" cy="0"/>
                </a:xfrm>
                <a:prstGeom prst="line">
                  <a:avLst/>
                </a:prstGeom>
                <a:ln>
                  <a:solidFill>
                    <a:srgbClr val="023C87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30" name="TextBox 29"/>
            <p:cNvSpPr txBox="1"/>
            <p:nvPr/>
          </p:nvSpPr>
          <p:spPr>
            <a:xfrm>
              <a:off x="8997215" y="3488162"/>
              <a:ext cx="6781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rgbClr val="023C87"/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r>
                <a:rPr lang="en-US" dirty="0"/>
                <a:t>8%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594801" y="4628238"/>
            <a:ext cx="1323872" cy="1165768"/>
            <a:chOff x="8570843" y="3673432"/>
            <a:chExt cx="1323872" cy="1165768"/>
          </a:xfrm>
        </p:grpSpPr>
        <p:grpSp>
          <p:nvGrpSpPr>
            <p:cNvPr id="36" name="Group 35"/>
            <p:cNvGrpSpPr/>
            <p:nvPr/>
          </p:nvGrpSpPr>
          <p:grpSpPr>
            <a:xfrm>
              <a:off x="8570843" y="4026038"/>
              <a:ext cx="1323872" cy="813162"/>
              <a:chOff x="8570843" y="4026038"/>
              <a:chExt cx="1323872" cy="813162"/>
            </a:xfrm>
          </p:grpSpPr>
          <p:sp>
            <p:nvSpPr>
              <p:cNvPr id="38" name="TextBox 37"/>
              <p:cNvSpPr txBox="1"/>
              <p:nvPr/>
            </p:nvSpPr>
            <p:spPr>
              <a:xfrm>
                <a:off x="8570843" y="4262119"/>
                <a:ext cx="1323872" cy="577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latin typeface="Times New Roman" pitchFamily="18" charset="0"/>
                    <a:cs typeface="Times New Roman" pitchFamily="18" charset="0"/>
                  </a:rPr>
                  <a:t>Percentage of Arabs </a:t>
                </a:r>
                <a:br>
                  <a:rPr lang="en-US" sz="1050" dirty="0">
                    <a:latin typeface="Times New Roman" pitchFamily="18" charset="0"/>
                    <a:cs typeface="Times New Roman" pitchFamily="18" charset="0"/>
                  </a:rPr>
                </a:br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among Hi-tech</a:t>
                </a:r>
              </a:p>
              <a:p>
                <a:pPr algn="ctr"/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Employees</a:t>
                </a:r>
                <a:endParaRPr lang="en-US" sz="105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39" name="Group 38"/>
              <p:cNvGrpSpPr/>
              <p:nvPr/>
            </p:nvGrpSpPr>
            <p:grpSpPr>
              <a:xfrm>
                <a:off x="8691364" y="4026038"/>
                <a:ext cx="1082831" cy="237744"/>
                <a:chOff x="8691364" y="4026038"/>
                <a:chExt cx="1082831" cy="237744"/>
              </a:xfrm>
            </p:grpSpPr>
            <p:sp>
              <p:nvSpPr>
                <p:cNvPr id="40" name="Rectangle 39"/>
                <p:cNvSpPr/>
                <p:nvPr/>
              </p:nvSpPr>
              <p:spPr>
                <a:xfrm>
                  <a:off x="8980495" y="4026038"/>
                  <a:ext cx="504568" cy="237744"/>
                </a:xfrm>
                <a:prstGeom prst="rect">
                  <a:avLst/>
                </a:prstGeom>
                <a:solidFill>
                  <a:srgbClr val="023C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41" name="Straight Connector 40"/>
                <p:cNvCxnSpPr/>
                <p:nvPr/>
              </p:nvCxnSpPr>
              <p:spPr>
                <a:xfrm>
                  <a:off x="8691364" y="4263161"/>
                  <a:ext cx="1082831" cy="0"/>
                </a:xfrm>
                <a:prstGeom prst="line">
                  <a:avLst/>
                </a:prstGeom>
                <a:ln>
                  <a:solidFill>
                    <a:srgbClr val="023C87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37" name="TextBox 36"/>
            <p:cNvSpPr txBox="1"/>
            <p:nvPr/>
          </p:nvSpPr>
          <p:spPr>
            <a:xfrm>
              <a:off x="8997215" y="3673432"/>
              <a:ext cx="6781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rgbClr val="023C87"/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r>
                <a:rPr lang="en-US" dirty="0"/>
                <a:t>4%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902489" y="3333175"/>
            <a:ext cx="1323872" cy="2309969"/>
            <a:chOff x="8570843" y="2367648"/>
            <a:chExt cx="1323872" cy="2309969"/>
          </a:xfrm>
        </p:grpSpPr>
        <p:grpSp>
          <p:nvGrpSpPr>
            <p:cNvPr id="43" name="Group 42"/>
            <p:cNvGrpSpPr/>
            <p:nvPr/>
          </p:nvGrpSpPr>
          <p:grpSpPr>
            <a:xfrm>
              <a:off x="8570843" y="2736898"/>
              <a:ext cx="1323872" cy="1940719"/>
              <a:chOff x="8570843" y="2736898"/>
              <a:chExt cx="1323872" cy="1940719"/>
            </a:xfrm>
          </p:grpSpPr>
          <p:sp>
            <p:nvSpPr>
              <p:cNvPr id="45" name="TextBox 44"/>
              <p:cNvSpPr txBox="1"/>
              <p:nvPr/>
            </p:nvSpPr>
            <p:spPr>
              <a:xfrm>
                <a:off x="8570843" y="4262119"/>
                <a:ext cx="132387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latin typeface="Times New Roman" pitchFamily="18" charset="0"/>
                    <a:cs typeface="Times New Roman" pitchFamily="18" charset="0"/>
                  </a:rPr>
                  <a:t>Percentage of Arabs </a:t>
                </a:r>
                <a:br>
                  <a:rPr lang="en-US" sz="1050" dirty="0">
                    <a:latin typeface="Times New Roman" pitchFamily="18" charset="0"/>
                    <a:cs typeface="Times New Roman" pitchFamily="18" charset="0"/>
                  </a:rPr>
                </a:br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among Unemployed</a:t>
                </a:r>
                <a:endParaRPr lang="en-US" sz="105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46" name="Group 45"/>
              <p:cNvGrpSpPr/>
              <p:nvPr/>
            </p:nvGrpSpPr>
            <p:grpSpPr>
              <a:xfrm>
                <a:off x="8691364" y="2736898"/>
                <a:ext cx="1082831" cy="1526884"/>
                <a:chOff x="8691364" y="2736898"/>
                <a:chExt cx="1082831" cy="1526884"/>
              </a:xfrm>
            </p:grpSpPr>
            <p:sp>
              <p:nvSpPr>
                <p:cNvPr id="47" name="Rectangle 46"/>
                <p:cNvSpPr/>
                <p:nvPr/>
              </p:nvSpPr>
              <p:spPr>
                <a:xfrm>
                  <a:off x="8980495" y="2736898"/>
                  <a:ext cx="504568" cy="1526884"/>
                </a:xfrm>
                <a:prstGeom prst="rect">
                  <a:avLst/>
                </a:prstGeom>
                <a:solidFill>
                  <a:srgbClr val="023C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48" name="Straight Connector 47"/>
                <p:cNvCxnSpPr/>
                <p:nvPr/>
              </p:nvCxnSpPr>
              <p:spPr>
                <a:xfrm>
                  <a:off x="8691364" y="4263161"/>
                  <a:ext cx="1082831" cy="0"/>
                </a:xfrm>
                <a:prstGeom prst="line">
                  <a:avLst/>
                </a:prstGeom>
                <a:ln>
                  <a:solidFill>
                    <a:srgbClr val="023C87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44" name="TextBox 43"/>
            <p:cNvSpPr txBox="1"/>
            <p:nvPr/>
          </p:nvSpPr>
          <p:spPr>
            <a:xfrm>
              <a:off x="8943913" y="2367648"/>
              <a:ext cx="6781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rgbClr val="023C87"/>
                  </a:solidFill>
                  <a:latin typeface="Times New Roman" pitchFamily="18" charset="0"/>
                  <a:cs typeface="Times New Roman" pitchFamily="18" charset="0"/>
                </a:rPr>
                <a:t>25%</a:t>
              </a:r>
              <a:endParaRPr lang="en-US" b="1" dirty="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7220209" y="2171848"/>
            <a:ext cx="1323872" cy="3470836"/>
            <a:chOff x="8570843" y="1206781"/>
            <a:chExt cx="1323872" cy="3470836"/>
          </a:xfrm>
        </p:grpSpPr>
        <p:grpSp>
          <p:nvGrpSpPr>
            <p:cNvPr id="50" name="Group 49"/>
            <p:cNvGrpSpPr/>
            <p:nvPr/>
          </p:nvGrpSpPr>
          <p:grpSpPr>
            <a:xfrm>
              <a:off x="8570843" y="1565003"/>
              <a:ext cx="1323872" cy="3112614"/>
              <a:chOff x="8570843" y="1565003"/>
              <a:chExt cx="1323872" cy="3112614"/>
            </a:xfrm>
          </p:grpSpPr>
          <p:sp>
            <p:nvSpPr>
              <p:cNvPr id="52" name="TextBox 51"/>
              <p:cNvSpPr txBox="1"/>
              <p:nvPr/>
            </p:nvSpPr>
            <p:spPr>
              <a:xfrm>
                <a:off x="8570843" y="4262119"/>
                <a:ext cx="1323872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dirty="0">
                    <a:latin typeface="Times New Roman" pitchFamily="18" charset="0"/>
                    <a:cs typeface="Times New Roman" pitchFamily="18" charset="0"/>
                  </a:rPr>
                  <a:t>Percentage of </a:t>
                </a:r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Poor</a:t>
                </a:r>
              </a:p>
              <a:p>
                <a:pPr algn="ctr"/>
                <a:r>
                  <a:rPr lang="en-US" sz="1050" dirty="0" smtClean="0">
                    <a:latin typeface="Times New Roman" pitchFamily="18" charset="0"/>
                    <a:cs typeface="Times New Roman" pitchFamily="18" charset="0"/>
                  </a:rPr>
                  <a:t>Population</a:t>
                </a:r>
                <a:endParaRPr lang="en-US" sz="105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53" name="Group 52"/>
              <p:cNvGrpSpPr/>
              <p:nvPr/>
            </p:nvGrpSpPr>
            <p:grpSpPr>
              <a:xfrm>
                <a:off x="8691364" y="1565003"/>
                <a:ext cx="1082831" cy="2698779"/>
                <a:chOff x="8691364" y="1565003"/>
                <a:chExt cx="1082831" cy="2698779"/>
              </a:xfrm>
            </p:grpSpPr>
            <p:sp>
              <p:nvSpPr>
                <p:cNvPr id="54" name="Rectangle 53"/>
                <p:cNvSpPr/>
                <p:nvPr/>
              </p:nvSpPr>
              <p:spPr>
                <a:xfrm>
                  <a:off x="8980495" y="1565003"/>
                  <a:ext cx="504568" cy="2698779"/>
                </a:xfrm>
                <a:prstGeom prst="rect">
                  <a:avLst/>
                </a:prstGeom>
                <a:solidFill>
                  <a:srgbClr val="023C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55" name="Straight Connector 54"/>
                <p:cNvCxnSpPr/>
                <p:nvPr/>
              </p:nvCxnSpPr>
              <p:spPr>
                <a:xfrm>
                  <a:off x="8691364" y="4263161"/>
                  <a:ext cx="1082831" cy="0"/>
                </a:xfrm>
                <a:prstGeom prst="line">
                  <a:avLst/>
                </a:prstGeom>
                <a:ln>
                  <a:solidFill>
                    <a:srgbClr val="023C87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1" name="TextBox 50"/>
            <p:cNvSpPr txBox="1"/>
            <p:nvPr/>
          </p:nvSpPr>
          <p:spPr>
            <a:xfrm>
              <a:off x="8958427" y="1206781"/>
              <a:ext cx="6781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rgbClr val="023C87"/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r>
                <a:rPr lang="en-US" dirty="0"/>
                <a:t>44%</a:t>
              </a:r>
            </a:p>
          </p:txBody>
        </p:sp>
      </p:grpSp>
      <p:cxnSp>
        <p:nvCxnSpPr>
          <p:cNvPr id="65" name="Straight Connector 11"/>
          <p:cNvCxnSpPr>
            <a:cxnSpLocks noChangeShapeType="1"/>
          </p:cNvCxnSpPr>
          <p:nvPr/>
        </p:nvCxnSpPr>
        <p:spPr bwMode="auto">
          <a:xfrm>
            <a:off x="1386328" y="3925228"/>
            <a:ext cx="7019925" cy="0"/>
          </a:xfrm>
          <a:prstGeom prst="line">
            <a:avLst/>
          </a:prstGeom>
          <a:noFill/>
          <a:ln w="12700" algn="ctr">
            <a:solidFill>
              <a:srgbClr val="FF0000"/>
            </a:solidFill>
            <a:prstDash val="dash"/>
            <a:round/>
            <a:headEnd/>
            <a:tailEnd/>
          </a:ln>
        </p:spPr>
      </p:cxnSp>
      <p:grpSp>
        <p:nvGrpSpPr>
          <p:cNvPr id="12" name="Group 11"/>
          <p:cNvGrpSpPr/>
          <p:nvPr/>
        </p:nvGrpSpPr>
        <p:grpSpPr>
          <a:xfrm>
            <a:off x="1862704" y="3578742"/>
            <a:ext cx="4200555" cy="1021859"/>
            <a:chOff x="1862703" y="3578740"/>
            <a:chExt cx="4200555" cy="1021859"/>
          </a:xfrm>
        </p:grpSpPr>
        <p:grpSp>
          <p:nvGrpSpPr>
            <p:cNvPr id="4" name="Group 3"/>
            <p:cNvGrpSpPr/>
            <p:nvPr/>
          </p:nvGrpSpPr>
          <p:grpSpPr>
            <a:xfrm>
              <a:off x="2640915" y="3927785"/>
              <a:ext cx="2629576" cy="672814"/>
              <a:chOff x="2640915" y="3927785"/>
              <a:chExt cx="2629576" cy="672814"/>
            </a:xfrm>
          </p:grpSpPr>
          <p:cxnSp>
            <p:nvCxnSpPr>
              <p:cNvPr id="68" name="מחבר חץ ישר 23"/>
              <p:cNvCxnSpPr>
                <a:cxnSpLocks noChangeShapeType="1"/>
              </p:cNvCxnSpPr>
              <p:nvPr/>
            </p:nvCxnSpPr>
            <p:spPr bwMode="auto">
              <a:xfrm>
                <a:off x="5270491" y="3927785"/>
                <a:ext cx="0" cy="672814"/>
              </a:xfrm>
              <a:prstGeom prst="straightConnector1">
                <a:avLst/>
              </a:prstGeom>
              <a:noFill/>
              <a:ln w="38100" algn="ctr">
                <a:solidFill>
                  <a:srgbClr val="FF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69" name="מחבר חץ ישר 25"/>
              <p:cNvCxnSpPr>
                <a:cxnSpLocks noChangeShapeType="1"/>
              </p:cNvCxnSpPr>
              <p:nvPr/>
            </p:nvCxnSpPr>
            <p:spPr bwMode="auto">
              <a:xfrm>
                <a:off x="3960579" y="3931868"/>
                <a:ext cx="0" cy="543543"/>
              </a:xfrm>
              <a:prstGeom prst="straightConnector1">
                <a:avLst/>
              </a:prstGeom>
              <a:noFill/>
              <a:ln w="38100" algn="ctr">
                <a:solidFill>
                  <a:srgbClr val="FF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70" name="מחבר חץ ישר 27"/>
              <p:cNvCxnSpPr>
                <a:cxnSpLocks noChangeShapeType="1"/>
              </p:cNvCxnSpPr>
              <p:nvPr/>
            </p:nvCxnSpPr>
            <p:spPr bwMode="auto">
              <a:xfrm>
                <a:off x="2640915" y="3936857"/>
                <a:ext cx="0" cy="226043"/>
              </a:xfrm>
              <a:prstGeom prst="straightConnector1">
                <a:avLst/>
              </a:prstGeom>
              <a:noFill/>
              <a:ln w="38100" algn="ctr">
                <a:solidFill>
                  <a:srgbClr val="FF0000"/>
                </a:solidFill>
                <a:round/>
                <a:headEnd/>
                <a:tailEnd type="triangle" w="med" len="med"/>
              </a:ln>
            </p:spPr>
          </p:cxnSp>
        </p:grpSp>
        <p:sp>
          <p:nvSpPr>
            <p:cNvPr id="71" name="TextBox 70"/>
            <p:cNvSpPr txBox="1">
              <a:spLocks noChangeArrowheads="1"/>
            </p:cNvSpPr>
            <p:nvPr/>
          </p:nvSpPr>
          <p:spPr bwMode="auto">
            <a:xfrm>
              <a:off x="1862703" y="3578740"/>
              <a:ext cx="4200555" cy="271750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prstDash val="sysDot"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rtl="0" eaLnBrk="0" hangingPunct="0">
                <a:defRPr/>
              </a:pPr>
              <a:r>
                <a:rPr lang="en-US" sz="1600" b="1" dirty="0" smtClean="0">
                  <a:solidFill>
                    <a:srgbClr val="CC0505"/>
                  </a:solidFill>
                  <a:latin typeface="Times New Roman" pitchFamily="18" charset="0"/>
                  <a:cs typeface="Times New Roman" pitchFamily="18" charset="0"/>
                </a:rPr>
                <a:t>Underrepresented </a:t>
              </a:r>
              <a:r>
                <a:rPr lang="en-US" sz="1600" b="1" dirty="0">
                  <a:solidFill>
                    <a:srgbClr val="CC0505"/>
                  </a:solidFill>
                  <a:latin typeface="Times New Roman" pitchFamily="18" charset="0"/>
                  <a:cs typeface="Times New Roman" pitchFamily="18" charset="0"/>
                </a:rPr>
                <a:t>in “positive” parameters</a:t>
              </a:r>
              <a:endParaRPr lang="he-IL" sz="1600" b="1" dirty="0">
                <a:solidFill>
                  <a:srgbClr val="CC0505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cxnSp>
        <p:nvCxnSpPr>
          <p:cNvPr id="74" name="Straight Connector 73"/>
          <p:cNvCxnSpPr>
            <a:stCxn id="13" idx="2"/>
          </p:cNvCxnSpPr>
          <p:nvPr/>
        </p:nvCxnSpPr>
        <p:spPr>
          <a:xfrm>
            <a:off x="1230425" y="1980813"/>
            <a:ext cx="0" cy="150239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2670577" y="1983274"/>
            <a:ext cx="0" cy="154821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3957251" y="1986418"/>
            <a:ext cx="0" cy="149678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5274459" y="1983166"/>
            <a:ext cx="0" cy="15871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6578939" y="1983270"/>
            <a:ext cx="0" cy="13716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7893368" y="1971523"/>
            <a:ext cx="0" cy="27203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5889832" y="2626202"/>
            <a:ext cx="2720634" cy="2354642"/>
            <a:chOff x="5889832" y="2528228"/>
            <a:chExt cx="2720634" cy="2043294"/>
          </a:xfrm>
        </p:grpSpPr>
        <p:cxnSp>
          <p:nvCxnSpPr>
            <p:cNvPr id="66" name="מחבר חץ ישר 20"/>
            <p:cNvCxnSpPr>
              <a:cxnSpLocks noChangeShapeType="1"/>
            </p:cNvCxnSpPr>
            <p:nvPr/>
          </p:nvCxnSpPr>
          <p:spPr bwMode="auto">
            <a:xfrm flipH="1" flipV="1">
              <a:off x="7884191" y="2528228"/>
              <a:ext cx="0" cy="1404937"/>
            </a:xfrm>
            <a:prstGeom prst="straightConnector1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 type="triangle" w="med" len="med"/>
            </a:ln>
          </p:spPr>
        </p:cxnSp>
        <p:cxnSp>
          <p:nvCxnSpPr>
            <p:cNvPr id="67" name="מחבר חץ ישר 21"/>
            <p:cNvCxnSpPr>
              <a:cxnSpLocks noChangeShapeType="1"/>
            </p:cNvCxnSpPr>
            <p:nvPr/>
          </p:nvCxnSpPr>
          <p:spPr bwMode="auto">
            <a:xfrm flipH="1" flipV="1">
              <a:off x="6593556" y="3706153"/>
              <a:ext cx="0" cy="228600"/>
            </a:xfrm>
            <a:prstGeom prst="straightConnector1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 type="triangle" w="med" len="med"/>
            </a:ln>
          </p:spPr>
        </p:cxnSp>
        <p:sp>
          <p:nvSpPr>
            <p:cNvPr id="72" name="TextBox 71"/>
            <p:cNvSpPr txBox="1">
              <a:spLocks noChangeArrowheads="1"/>
            </p:cNvSpPr>
            <p:nvPr/>
          </p:nvSpPr>
          <p:spPr bwMode="auto">
            <a:xfrm>
              <a:off x="5889832" y="3973029"/>
              <a:ext cx="2720634" cy="598493"/>
            </a:xfrm>
            <a:prstGeom prst="rect">
              <a:avLst/>
            </a:prstGeom>
            <a:solidFill>
              <a:schemeClr val="bg1">
                <a:alpha val="83000"/>
              </a:schemeClr>
            </a:solidFill>
            <a:ln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36000" tIns="36000" rIns="36000" bIns="36000" anchor="ctr" anchorCtr="1"/>
            <a:lstStyle>
              <a:defPPr>
                <a:defRPr lang="en-US"/>
              </a:defPPr>
              <a:lvl1pPr algn="ctr" eaLnBrk="0" hangingPunct="0">
                <a:defRPr sz="1100" b="1">
                  <a:solidFill>
                    <a:srgbClr val="CC0505"/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r>
                <a:rPr lang="en-US" sz="2000" dirty="0" smtClean="0"/>
                <a:t>Overrepresented </a:t>
              </a:r>
              <a:r>
                <a:rPr lang="en-US" sz="2000" dirty="0"/>
                <a:t>in </a:t>
              </a:r>
              <a:r>
                <a:rPr lang="en-US" sz="2000" dirty="0" smtClean="0"/>
                <a:t/>
              </a:r>
              <a:br>
                <a:rPr lang="en-US" sz="2000" dirty="0" smtClean="0"/>
              </a:br>
              <a:r>
                <a:rPr lang="en-US" sz="2000" dirty="0" smtClean="0"/>
                <a:t>“</a:t>
              </a:r>
              <a:r>
                <a:rPr lang="en-US" sz="2000" dirty="0"/>
                <a:t>negative” parameters</a:t>
              </a:r>
              <a:endParaRPr lang="he-IL" sz="2000" dirty="0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583150" y="5889169"/>
            <a:ext cx="42782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Adapted from Shaldor, Collective Impact Initiatives 2015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32654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3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8440992" y="6172200"/>
            <a:ext cx="685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9144" rIns="0" bIns="0" anchor="ctr">
            <a:prstTxWarp prst="textNoShape">
              <a:avLst/>
            </a:prstTxWarp>
          </a:bodyPr>
          <a:lstStyle/>
          <a:p>
            <a:pPr algn="ctr" eaLnBrk="0" hangingPunct="0"/>
            <a:fld id="{264F72E9-88E5-9B4E-9625-7127A540E99C}" type="slidenum">
              <a:rPr lang="en-US" sz="2000" b="1">
                <a:solidFill>
                  <a:srgbClr val="003399"/>
                </a:solidFill>
                <a:latin typeface="Times New Roman" pitchFamily="18" charset="0"/>
                <a:ea typeface="Verdana"/>
                <a:cs typeface="Times New Roman" pitchFamily="18" charset="0"/>
              </a:rPr>
              <a:pPr algn="ctr" eaLnBrk="0" hangingPunct="0"/>
              <a:t>3</a:t>
            </a:fld>
            <a:endParaRPr lang="en-US" sz="2000" b="1" dirty="0">
              <a:solidFill>
                <a:srgbClr val="003399"/>
              </a:solidFill>
              <a:latin typeface="Times New Roman" pitchFamily="18" charset="0"/>
              <a:ea typeface="Verdana"/>
              <a:cs typeface="Times New Roman" pitchFamily="18" charset="0"/>
            </a:endParaRPr>
          </a:p>
        </p:txBody>
      </p:sp>
      <p:sp>
        <p:nvSpPr>
          <p:cNvPr id="12" name="Content Placeholder 3"/>
          <p:cNvSpPr txBox="1">
            <a:spLocks/>
          </p:cNvSpPr>
          <p:nvPr/>
        </p:nvSpPr>
        <p:spPr bwMode="auto">
          <a:xfrm>
            <a:off x="466356" y="1622084"/>
            <a:ext cx="8487144" cy="3807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39725" indent="-339725" eaLnBrk="0" fontAlgn="base" hangingPunct="0">
              <a:lnSpc>
                <a:spcPts val="2900"/>
              </a:lnSpc>
              <a:spcBef>
                <a:spcPts val="10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 sz="220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defRPr>
            </a:lvl1pPr>
            <a:lvl2pPr marL="790575" lvl="1" indent="-339725" eaLnBrk="0" fontAlgn="base" hangingPunct="0">
              <a:lnSpc>
                <a:spcPts val="29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110000"/>
              <a:buFont typeface="Arial" pitchFamily="34" charset="0"/>
              <a:buChar char="•"/>
              <a:defRPr sz="200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defRPr>
            </a:lvl2pPr>
            <a:lvl3pPr marL="1087438" indent="-17303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itchFamily="34" charset="0"/>
              <a:buChar char="•"/>
              <a:defRPr sz="2400">
                <a:latin typeface="Times New Roman" pitchFamily="18" charset="0"/>
                <a:cs typeface="Times New Roman" pitchFamily="18" charset="0"/>
              </a:defRPr>
            </a:lvl3pPr>
            <a:lvl4pPr marL="1600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/>
            </a:lvl4pPr>
            <a:lvl5pPr marL="20574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/>
              <a:t>Parity will yield $10B </a:t>
            </a:r>
            <a:r>
              <a:rPr lang="en-US" sz="2400" dirty="0"/>
              <a:t>annually to Israel’s </a:t>
            </a:r>
            <a:r>
              <a:rPr lang="en-US" sz="2400" dirty="0"/>
              <a:t>economy</a:t>
            </a:r>
          </a:p>
          <a:p>
            <a:r>
              <a:rPr lang="en-US" sz="2400" dirty="0" smtClean="0"/>
              <a:t>Education paving the way </a:t>
            </a:r>
            <a:r>
              <a:rPr lang="en-US" sz="2400" dirty="0"/>
              <a:t>to higher paid professions</a:t>
            </a:r>
          </a:p>
          <a:p>
            <a:r>
              <a:rPr lang="en-US" sz="2400" dirty="0" smtClean="0"/>
              <a:t>Government </a:t>
            </a:r>
            <a:r>
              <a:rPr lang="en-US" sz="2400" dirty="0"/>
              <a:t>investments</a:t>
            </a:r>
            <a:endParaRPr lang="en-US" sz="2400" dirty="0"/>
          </a:p>
          <a:p>
            <a:pPr lvl="1"/>
            <a:r>
              <a:rPr lang="en-US" sz="2400" dirty="0"/>
              <a:t>$4B </a:t>
            </a:r>
            <a:r>
              <a:rPr lang="en-US" sz="2400" dirty="0"/>
              <a:t>committed over next 5 </a:t>
            </a:r>
            <a:r>
              <a:rPr lang="en-US" sz="2400" dirty="0"/>
              <a:t>years</a:t>
            </a:r>
          </a:p>
          <a:p>
            <a:pPr lvl="1"/>
            <a:r>
              <a:rPr lang="en-US" sz="2400" dirty="0"/>
              <a:t>Chief Scientist programs focused on Arab </a:t>
            </a:r>
            <a:r>
              <a:rPr lang="en-US" sz="2400" dirty="0"/>
              <a:t>entrepreneurs</a:t>
            </a:r>
          </a:p>
          <a:p>
            <a:pPr lvl="1"/>
            <a:r>
              <a:rPr lang="en-US" sz="2400" dirty="0"/>
              <a:t>Participation in Al </a:t>
            </a:r>
            <a:r>
              <a:rPr lang="en-US" sz="2400" dirty="0" err="1"/>
              <a:t>Bawader</a:t>
            </a:r>
            <a:r>
              <a:rPr lang="en-US" sz="2400" dirty="0"/>
              <a:t> </a:t>
            </a:r>
            <a:endParaRPr lang="en-US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967" y="104775"/>
            <a:ext cx="7768933" cy="1143000"/>
          </a:xfrm>
        </p:spPr>
        <p:txBody>
          <a:bodyPr>
            <a:normAutofit/>
          </a:bodyPr>
          <a:lstStyle/>
          <a:p>
            <a:r>
              <a:rPr lang="en-US" sz="2600" dirty="0" smtClean="0"/>
              <a:t>Arab Israeli </a:t>
            </a:r>
            <a:r>
              <a:rPr lang="en-US" sz="2600" dirty="0" smtClean="0"/>
              <a:t>Economy - </a:t>
            </a:r>
            <a:r>
              <a:rPr lang="en-US" sz="2600" dirty="0" smtClean="0"/>
              <a:t>An </a:t>
            </a:r>
            <a:r>
              <a:rPr lang="en-US" sz="2600" dirty="0" smtClean="0"/>
              <a:t>Emerging Market within Israel’s Developed Economy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209080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3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8440992" y="6172200"/>
            <a:ext cx="685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tIns="9144" rIns="0" bIns="0" anchor="ctr">
            <a:prstTxWarp prst="textNoShape">
              <a:avLst/>
            </a:prstTxWarp>
          </a:bodyPr>
          <a:lstStyle/>
          <a:p>
            <a:pPr algn="ctr" eaLnBrk="0" hangingPunct="0"/>
            <a:fld id="{264F72E9-88E5-9B4E-9625-7127A540E99C}" type="slidenum">
              <a:rPr lang="en-US" sz="2000" b="1">
                <a:solidFill>
                  <a:srgbClr val="003399"/>
                </a:solidFill>
                <a:latin typeface="Times New Roman" pitchFamily="18" charset="0"/>
                <a:ea typeface="Verdana"/>
                <a:cs typeface="Times New Roman" pitchFamily="18" charset="0"/>
              </a:rPr>
              <a:pPr algn="ctr" eaLnBrk="0" hangingPunct="0"/>
              <a:t>4</a:t>
            </a:fld>
            <a:endParaRPr lang="en-US" sz="2000" b="1" dirty="0">
              <a:solidFill>
                <a:srgbClr val="003399"/>
              </a:solidFill>
              <a:latin typeface="Times New Roman" pitchFamily="18" charset="0"/>
              <a:ea typeface="Verdana"/>
              <a:cs typeface="Times New Roman" pitchFamily="18" charset="0"/>
            </a:endParaRPr>
          </a:p>
        </p:txBody>
      </p:sp>
      <p:sp>
        <p:nvSpPr>
          <p:cNvPr id="12" name="Content Placeholder 3"/>
          <p:cNvSpPr txBox="1">
            <a:spLocks/>
          </p:cNvSpPr>
          <p:nvPr/>
        </p:nvSpPr>
        <p:spPr bwMode="auto">
          <a:xfrm>
            <a:off x="466356" y="1079158"/>
            <a:ext cx="8487144" cy="5435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339725" indent="-339725" eaLnBrk="0" fontAlgn="base" hangingPunct="0">
              <a:lnSpc>
                <a:spcPts val="2900"/>
              </a:lnSpc>
              <a:spcBef>
                <a:spcPts val="10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 sz="220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defRPr>
            </a:lvl1pPr>
            <a:lvl2pPr marL="790575" lvl="1" indent="-339725" eaLnBrk="0" fontAlgn="base" hangingPunct="0">
              <a:lnSpc>
                <a:spcPts val="2900"/>
              </a:lnSpc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110000"/>
              <a:buFont typeface="Arial" pitchFamily="34" charset="0"/>
              <a:buChar char="•"/>
              <a:defRPr sz="2000">
                <a:solidFill>
                  <a:srgbClr val="023C87"/>
                </a:solidFill>
                <a:latin typeface="Times New Roman" pitchFamily="18" charset="0"/>
                <a:cs typeface="Times New Roman" pitchFamily="18" charset="0"/>
              </a:defRPr>
            </a:lvl2pPr>
            <a:lvl3pPr marL="1087438" indent="-17303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itchFamily="34" charset="0"/>
              <a:buChar char="•"/>
              <a:defRPr sz="2400">
                <a:latin typeface="Times New Roman" pitchFamily="18" charset="0"/>
                <a:cs typeface="Times New Roman" pitchFamily="18" charset="0"/>
              </a:defRPr>
            </a:lvl3pPr>
            <a:lvl4pPr marL="1600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/>
            </a:lvl4pPr>
            <a:lvl5pPr marL="20574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400" dirty="0" smtClean="0"/>
              <a:t>First investment fund focused on the Arab private sector</a:t>
            </a:r>
          </a:p>
          <a:p>
            <a:r>
              <a:rPr lang="en-US" sz="2400" dirty="0" smtClean="0"/>
              <a:t>$50m </a:t>
            </a:r>
            <a:r>
              <a:rPr lang="en-US" sz="2400" dirty="0" smtClean="0"/>
              <a:t>committed capital </a:t>
            </a:r>
            <a:endParaRPr lang="en-US" sz="2400" dirty="0" smtClean="0"/>
          </a:p>
          <a:p>
            <a:r>
              <a:rPr lang="en-US" sz="2400" dirty="0" smtClean="0"/>
              <a:t>Private and public partnership</a:t>
            </a:r>
          </a:p>
          <a:p>
            <a:r>
              <a:rPr lang="en-US" sz="2400" dirty="0" smtClean="0"/>
              <a:t>Our vision: E</a:t>
            </a:r>
            <a:r>
              <a:rPr lang="en-US" sz="2400" dirty="0" smtClean="0">
                <a:solidFill>
                  <a:schemeClr val="tx2"/>
                </a:solidFill>
              </a:rPr>
              <a:t>xpand “</a:t>
            </a:r>
            <a:r>
              <a:rPr lang="en-US" sz="2400" dirty="0">
                <a:solidFill>
                  <a:schemeClr val="tx2"/>
                </a:solidFill>
              </a:rPr>
              <a:t>Startup Nation” to include </a:t>
            </a:r>
            <a:r>
              <a:rPr lang="en-US" sz="2400" dirty="0" smtClean="0">
                <a:solidFill>
                  <a:schemeClr val="tx2"/>
                </a:solidFill>
              </a:rPr>
              <a:t>Arab </a:t>
            </a:r>
            <a:r>
              <a:rPr lang="en-US" sz="2400" dirty="0">
                <a:solidFill>
                  <a:schemeClr val="tx2"/>
                </a:solidFill>
              </a:rPr>
              <a:t>community </a:t>
            </a:r>
            <a:endParaRPr lang="en-US" sz="2400" dirty="0" smtClean="0">
              <a:solidFill>
                <a:schemeClr val="tx2"/>
              </a:solidFill>
            </a:endParaRPr>
          </a:p>
          <a:p>
            <a:r>
              <a:rPr lang="en-US" sz="2400" dirty="0" smtClean="0"/>
              <a:t>Our mission: G</a:t>
            </a:r>
            <a:r>
              <a:rPr lang="en-US" sz="2400" dirty="0" smtClean="0">
                <a:solidFill>
                  <a:schemeClr val="tx2"/>
                </a:solidFill>
              </a:rPr>
              <a:t>enerate </a:t>
            </a:r>
            <a:r>
              <a:rPr lang="en-US" sz="2400" dirty="0">
                <a:solidFill>
                  <a:schemeClr val="tx2"/>
                </a:solidFill>
              </a:rPr>
              <a:t>healthy returns for our investors</a:t>
            </a:r>
            <a:endParaRPr lang="en-US" sz="2400" dirty="0"/>
          </a:p>
          <a:p>
            <a:r>
              <a:rPr lang="en-US" sz="2400" dirty="0" smtClean="0"/>
              <a:t>Same investment criteria as other funds</a:t>
            </a:r>
          </a:p>
          <a:p>
            <a:r>
              <a:rPr lang="en-US" sz="2400" dirty="0" smtClean="0"/>
              <a:t>8 </a:t>
            </a:r>
            <a:r>
              <a:rPr lang="en-US" sz="2400" dirty="0" smtClean="0"/>
              <a:t>investments in </a:t>
            </a:r>
            <a:r>
              <a:rPr lang="en-US" sz="2400" dirty="0" smtClean="0"/>
              <a:t>early stage companies</a:t>
            </a:r>
          </a:p>
          <a:p>
            <a:r>
              <a:rPr lang="en-US" sz="2400" dirty="0" smtClean="0"/>
              <a:t>Key challenges: </a:t>
            </a:r>
          </a:p>
          <a:p>
            <a:pPr lvl="1"/>
            <a:r>
              <a:rPr lang="en-US" dirty="0" smtClean="0"/>
              <a:t>Investing in first time entrepreneurs</a:t>
            </a:r>
          </a:p>
          <a:p>
            <a:pPr lvl="1"/>
            <a:r>
              <a:rPr lang="en-US" dirty="0" smtClean="0"/>
              <a:t>Recruiting experienced management teams</a:t>
            </a:r>
            <a:endParaRPr lang="en-US" dirty="0" smtClean="0"/>
          </a:p>
          <a:p>
            <a:endParaRPr lang="en-US" sz="2400" dirty="0" smtClean="0"/>
          </a:p>
          <a:p>
            <a:endParaRPr lang="en-US" sz="24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966" y="-48490"/>
            <a:ext cx="9331035" cy="1143000"/>
          </a:xfrm>
        </p:spPr>
        <p:txBody>
          <a:bodyPr>
            <a:normAutofit/>
          </a:bodyPr>
          <a:lstStyle/>
          <a:p>
            <a:r>
              <a:rPr lang="en-US" sz="2600" dirty="0" smtClean="0"/>
              <a:t>Al Bawader at a Glance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313707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3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bout WebTeb.pdf - Adobe Acrobat Reader DC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29" t="22074" r="29792" b="7126"/>
          <a:stretch/>
        </p:blipFill>
        <p:spPr>
          <a:xfrm>
            <a:off x="381001" y="949879"/>
            <a:ext cx="8381999" cy="564292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4966" y="-48490"/>
            <a:ext cx="7426035" cy="1143000"/>
          </a:xfrm>
        </p:spPr>
        <p:txBody>
          <a:bodyPr>
            <a:normAutofit/>
          </a:bodyPr>
          <a:lstStyle/>
          <a:p>
            <a:pPr algn="l"/>
            <a:r>
              <a:rPr lang="en-US" sz="2800" b="1" dirty="0" err="1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Webteb</a:t>
            </a:r>
            <a:r>
              <a:rPr lang="en-US" sz="28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: #1 Arabic Medical Site</a:t>
            </a:r>
            <a:endParaRPr lang="en-US" sz="2800" b="1" dirty="0">
              <a:solidFill>
                <a:srgbClr val="003399"/>
              </a:solidFill>
              <a:latin typeface="Times" pitchFamily="18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135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4966" y="-48490"/>
            <a:ext cx="8283285" cy="1143000"/>
          </a:xfrm>
        </p:spPr>
        <p:txBody>
          <a:bodyPr>
            <a:normAutofit/>
          </a:bodyPr>
          <a:lstStyle/>
          <a:p>
            <a:pPr algn="l"/>
            <a:r>
              <a:rPr lang="en-US" sz="2800" b="1" dirty="0" err="1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Webteb</a:t>
            </a:r>
            <a:r>
              <a:rPr lang="en-US" sz="28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: Unparalleled Arabic Medical Content</a:t>
            </a:r>
            <a:endParaRPr lang="en-US" sz="2800" b="1" dirty="0">
              <a:solidFill>
                <a:srgbClr val="003399"/>
              </a:solidFill>
              <a:latin typeface="Times" pitchFamily="18" charset="0"/>
              <a:ea typeface="+mn-ea"/>
              <a:cs typeface="Arial" pitchFamily="34" charset="0"/>
            </a:endParaRPr>
          </a:p>
        </p:txBody>
      </p:sp>
      <p:pic>
        <p:nvPicPr>
          <p:cNvPr id="5" name="Picture 4" descr="About WebTeb.pdf - Adobe Acrobat Reader DC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8" t="21738" r="29167" b="5204"/>
          <a:stretch/>
        </p:blipFill>
        <p:spPr>
          <a:xfrm>
            <a:off x="819150" y="847726"/>
            <a:ext cx="7562850" cy="521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1321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4966" y="-48490"/>
            <a:ext cx="8416634" cy="1143000"/>
          </a:xfrm>
        </p:spPr>
        <p:txBody>
          <a:bodyPr>
            <a:normAutofit/>
          </a:bodyPr>
          <a:lstStyle/>
          <a:p>
            <a:pPr algn="l"/>
            <a:r>
              <a:rPr lang="en-US" sz="2800" b="1" dirty="0" err="1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Webteb</a:t>
            </a:r>
            <a:r>
              <a:rPr lang="en-US" sz="28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: </a:t>
            </a:r>
            <a:r>
              <a:rPr lang="en-US" sz="28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Launching </a:t>
            </a:r>
            <a:r>
              <a:rPr lang="en-US" sz="2800" b="1" dirty="0" smtClean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Telemedicine Service in 2018</a:t>
            </a:r>
            <a:endParaRPr lang="en-US" sz="2800" b="1" dirty="0">
              <a:solidFill>
                <a:srgbClr val="003399"/>
              </a:solidFill>
              <a:latin typeface="Times" pitchFamily="18" charset="0"/>
              <a:ea typeface="+mn-ea"/>
              <a:cs typeface="Arial" pitchFamily="34" charset="0"/>
            </a:endParaRPr>
          </a:p>
        </p:txBody>
      </p:sp>
      <p:pic>
        <p:nvPicPr>
          <p:cNvPr id="6" name="Picture 5" descr="About WebTeb.pdf - Adobe Acrobat Reader DC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45" t="23936" r="29375" b="2896"/>
          <a:stretch/>
        </p:blipFill>
        <p:spPr>
          <a:xfrm>
            <a:off x="781051" y="1266825"/>
            <a:ext cx="7324724" cy="509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116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-39687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2800" b="1" dirty="0" err="1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Shablol</a:t>
            </a:r>
            <a:r>
              <a:rPr lang="en-US" sz="2800" b="1" dirty="0">
                <a:solidFill>
                  <a:srgbClr val="003399"/>
                </a:solidFill>
                <a:latin typeface="Times" pitchFamily="18" charset="0"/>
                <a:ea typeface="+mn-ea"/>
                <a:cs typeface="Arial" pitchFamily="34" charset="0"/>
              </a:rPr>
              <a:t>: #1 Kids Social Network in the Arabic world</a:t>
            </a:r>
          </a:p>
        </p:txBody>
      </p:sp>
      <p:pic>
        <p:nvPicPr>
          <p:cNvPr id="7" name="Picture 6" descr="shablol Onepager 11 JL 2.pdf - Adobe Acrobat Reader DC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5" t="23276" r="11250" b="1357"/>
          <a:stretch/>
        </p:blipFill>
        <p:spPr>
          <a:xfrm>
            <a:off x="280795" y="1381126"/>
            <a:ext cx="8626754" cy="4467224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5343525" y="4086225"/>
            <a:ext cx="3228975" cy="75247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823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49589" y="5438776"/>
            <a:ext cx="8218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23C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umate delivers </a:t>
            </a:r>
            <a:r>
              <a:rPr lang="en-US" dirty="0" smtClean="0">
                <a:solidFill>
                  <a:srgbClr val="023C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hensive field </a:t>
            </a:r>
            <a:r>
              <a:rPr lang="en-US" dirty="0">
                <a:solidFill>
                  <a:srgbClr val="023C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d analytics on a daily </a:t>
            </a:r>
            <a:r>
              <a:rPr lang="en-US" dirty="0" smtClean="0">
                <a:solidFill>
                  <a:srgbClr val="023C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s to power the $24B BIM Construction Infrastructure industry </a:t>
            </a:r>
            <a:endParaRPr lang="en-US" dirty="0">
              <a:solidFill>
                <a:srgbClr val="023C8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Datumate Presentation for Investors 310817 2 - Microsoft PowerPoint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t="35707" r="5729" b="15317"/>
          <a:stretch/>
        </p:blipFill>
        <p:spPr>
          <a:xfrm>
            <a:off x="92944" y="1400174"/>
            <a:ext cx="8969576" cy="3848101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584491" y="94385"/>
            <a:ext cx="855950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dirty="0" err="1" smtClean="0">
                <a:solidFill>
                  <a:srgbClr val="023C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umate</a:t>
            </a:r>
            <a:r>
              <a:rPr lang="en-US" sz="2400" dirty="0" smtClean="0">
                <a:solidFill>
                  <a:srgbClr val="023C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Integrates </a:t>
            </a:r>
            <a:r>
              <a:rPr lang="en-US" sz="2400" dirty="0">
                <a:solidFill>
                  <a:srgbClr val="023C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of the art drone, computer vision and photogrammetry to automate field to plan processes </a:t>
            </a:r>
            <a:endParaRPr lang="en-US" sz="2400" b="1" dirty="0">
              <a:solidFill>
                <a:srgbClr val="003399"/>
              </a:solidFill>
              <a:latin typeface="Times" pitchFamily="18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57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iwcpTjcUOlFpMrk4AE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aFjGsY0e31U0JSS1NN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669</TotalTime>
  <Words>374</Words>
  <Application>Microsoft Office PowerPoint</Application>
  <PresentationFormat>On-screen Show (4:3)</PresentationFormat>
  <Paragraphs>83</Paragraphs>
  <Slides>13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PowerPoint Presentation</vt:lpstr>
      <vt:lpstr>Arab Israeli Society - Economic and Social Gaps</vt:lpstr>
      <vt:lpstr>Arab Israeli Economy - An Emerging Market within Israel’s Developed Economy</vt:lpstr>
      <vt:lpstr>Al Bawader at a Glance</vt:lpstr>
      <vt:lpstr>Webteb: #1 Arabic Medical Site</vt:lpstr>
      <vt:lpstr>Webteb: Unparalleled Arabic Medical Content</vt:lpstr>
      <vt:lpstr>Webteb: Launching Telemedicine Service in 2018</vt:lpstr>
      <vt:lpstr>Shablol: #1 Kids Social Network in the Arabic world</vt:lpstr>
      <vt:lpstr>PowerPoint Presentation</vt:lpstr>
      <vt:lpstr>Vidmatic - Comprehensive video ad platform targeting publishers in emerging markets </vt:lpstr>
      <vt:lpstr>Galil Software - #1 Software Service Provider to Israeli High Tech</vt:lpstr>
      <vt:lpstr>Emerging Arab Israeli High Tech Economy 2010 vs 2016</vt:lpstr>
      <vt:lpstr>Thank You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ry Fadrick</dc:creator>
  <cp:lastModifiedBy>Jimmy</cp:lastModifiedBy>
  <cp:revision>1256</cp:revision>
  <dcterms:created xsi:type="dcterms:W3CDTF">2013-10-31T13:06:23Z</dcterms:created>
  <dcterms:modified xsi:type="dcterms:W3CDTF">2017-10-12T15:14:49Z</dcterms:modified>
</cp:coreProperties>
</file>